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0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11.xml" ContentType="application/vnd.openxmlformats-officedocument.presentationml.tags+xml"/>
  <Override PartName="/ppt/notesSlides/notesSlide3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4.xml" ContentType="application/vnd.openxmlformats-officedocument.presentationml.tags+xml"/>
  <Override PartName="/ppt/notesSlides/notesSlide4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9"/>
  </p:notesMasterIdLst>
  <p:handoutMasterIdLst>
    <p:handoutMasterId r:id="rId90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3" r:id="rId16"/>
    <p:sldId id="304" r:id="rId17"/>
    <p:sldId id="305" r:id="rId18"/>
    <p:sldId id="309" r:id="rId19"/>
    <p:sldId id="310" r:id="rId20"/>
    <p:sldId id="311" r:id="rId21"/>
    <p:sldId id="312" r:id="rId22"/>
    <p:sldId id="313" r:id="rId23"/>
    <p:sldId id="314" r:id="rId24"/>
    <p:sldId id="315" r:id="rId25"/>
    <p:sldId id="399" r:id="rId26"/>
    <p:sldId id="400" r:id="rId27"/>
    <p:sldId id="401" r:id="rId28"/>
    <p:sldId id="402" r:id="rId29"/>
    <p:sldId id="403" r:id="rId30"/>
    <p:sldId id="404" r:id="rId31"/>
    <p:sldId id="405" r:id="rId32"/>
    <p:sldId id="438" r:id="rId33"/>
    <p:sldId id="441" r:id="rId34"/>
    <p:sldId id="442" r:id="rId35"/>
    <p:sldId id="443" r:id="rId36"/>
    <p:sldId id="444" r:id="rId37"/>
    <p:sldId id="440" r:id="rId38"/>
    <p:sldId id="382" r:id="rId39"/>
    <p:sldId id="318" r:id="rId40"/>
    <p:sldId id="425" r:id="rId41"/>
    <p:sldId id="320" r:id="rId42"/>
    <p:sldId id="426" r:id="rId43"/>
    <p:sldId id="427" r:id="rId44"/>
    <p:sldId id="323" r:id="rId45"/>
    <p:sldId id="428" r:id="rId46"/>
    <p:sldId id="429" r:id="rId47"/>
    <p:sldId id="324" r:id="rId48"/>
    <p:sldId id="430" r:id="rId49"/>
    <p:sldId id="432" r:id="rId50"/>
    <p:sldId id="431" r:id="rId51"/>
    <p:sldId id="327" r:id="rId52"/>
    <p:sldId id="328" r:id="rId53"/>
    <p:sldId id="394" r:id="rId54"/>
    <p:sldId id="368" r:id="rId55"/>
    <p:sldId id="408" r:id="rId56"/>
    <p:sldId id="409" r:id="rId57"/>
    <p:sldId id="410" r:id="rId58"/>
    <p:sldId id="411" r:id="rId59"/>
    <p:sldId id="412" r:id="rId60"/>
    <p:sldId id="413" r:id="rId61"/>
    <p:sldId id="414" r:id="rId62"/>
    <p:sldId id="395" r:id="rId63"/>
    <p:sldId id="375" r:id="rId64"/>
    <p:sldId id="397" r:id="rId65"/>
    <p:sldId id="359" r:id="rId66"/>
    <p:sldId id="360" r:id="rId67"/>
    <p:sldId id="376" r:id="rId68"/>
    <p:sldId id="343" r:id="rId69"/>
    <p:sldId id="344" r:id="rId70"/>
    <p:sldId id="345" r:id="rId71"/>
    <p:sldId id="361" r:id="rId72"/>
    <p:sldId id="347" r:id="rId73"/>
    <p:sldId id="348" r:id="rId74"/>
    <p:sldId id="362" r:id="rId75"/>
    <p:sldId id="352" r:id="rId76"/>
    <p:sldId id="353" r:id="rId77"/>
    <p:sldId id="354" r:id="rId78"/>
    <p:sldId id="363" r:id="rId79"/>
    <p:sldId id="364" r:id="rId80"/>
    <p:sldId id="377" r:id="rId81"/>
    <p:sldId id="350" r:id="rId82"/>
    <p:sldId id="355" r:id="rId83"/>
    <p:sldId id="349" r:id="rId84"/>
    <p:sldId id="357" r:id="rId85"/>
    <p:sldId id="358" r:id="rId86"/>
    <p:sldId id="434" r:id="rId87"/>
    <p:sldId id="299" r:id="rId88"/>
  </p:sldIdLst>
  <p:sldSz cx="9144000" cy="6858000" type="screen4x3"/>
  <p:notesSz cx="7315200" cy="9601200"/>
  <p:custDataLst>
    <p:tags r:id="rId9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3"/>
            <p14:sldId id="304"/>
            <p14:sldId id="305"/>
            <p14:sldId id="309"/>
            <p14:sldId id="310"/>
            <p14:sldId id="311"/>
            <p14:sldId id="312"/>
            <p14:sldId id="313"/>
            <p14:sldId id="314"/>
            <p14:sldId id="315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7"/>
            <p14:sldId id="328"/>
            <p14:sldId id="394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</p14:sldIdLst>
        </p14:section>
        <p14:section name="Simulations" id="{14EC53E0-150C-4069-A966-E3D1C262D6B6}">
          <p14:sldIdLst>
            <p14:sldId id="375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Conclusion" id="{07ABCF22-AF44-46E3-B02C-FBB4CB513E70}">
          <p14:sldIdLst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726" autoAdjust="0"/>
    <p:restoredTop sz="64540" autoAdjust="0"/>
  </p:normalViewPr>
  <p:slideViewPr>
    <p:cSldViewPr snapToGrid="0" snapToObjects="1">
      <p:cViewPr varScale="1">
        <p:scale>
          <a:sx n="73" d="100"/>
          <a:sy n="73" d="100"/>
        </p:scale>
        <p:origin x="2688" y="19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1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notesMaster" Target="notesMasters/notesMaster1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90" Type="http://schemas.openxmlformats.org/officeDocument/2006/relationships/handoutMaster" Target="handoutMasters/handoutMaster1.xml"/><Relationship Id="rId95" Type="http://schemas.openxmlformats.org/officeDocument/2006/relationships/theme" Target="theme/theme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tags" Target="tags/tag1.xml"/><Relationship Id="rId9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661988"/>
            <a:ext cx="6423025" cy="4818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9472" y="5660883"/>
            <a:ext cx="7055076" cy="32790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“Obstacle avoidance based on Reach Sets”,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Which was </a:t>
            </a:r>
            <a:r>
              <a:rPr lang="sk-SK" dirty="0"/>
              <a:t>supervised</a:t>
            </a:r>
            <a:r>
              <a:rPr lang="en-US" dirty="0"/>
              <a:t> by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Joao Sousa from LSTS, and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Fernando Lobo Pereira from FEUP,  		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obstacle avoidance can be taken as a “trip to a fine restaurant”,</a:t>
            </a:r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r>
              <a:rPr lang="en-US" dirty="0"/>
              <a:t>I need to use my eyes, “Sensor system” to scan my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144735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818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818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144735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16F46199-CAFB-437E-8898-9B3F1AF3B20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144735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818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818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144735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various sources of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endParaRPr lang="en-US" sz="1400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flies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are only “vehicle dynamic constraints”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LiDAR stands for </a:t>
            </a:r>
            <a:r>
              <a:rPr lang="en-US" u="sng" dirty="0"/>
              <a:t>Light Detection And Ranging </a:t>
            </a:r>
            <a:r>
              <a:rPr lang="en-US" u="none" dirty="0"/>
              <a:t>it’s a laser based sensor which can scan surroundings as a point cloud.</a:t>
            </a:r>
            <a:endParaRPr lang="en-US" u="sng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endParaRPr lang="en-US" sz="1400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,</a:t>
            </a:r>
          </a:p>
          <a:p>
            <a:pPr lvl="0"/>
            <a:r>
              <a:rPr lang="en-US" dirty="0"/>
              <a:t>There is a set of internationally rules stated in ICAO annex 2, which outlines required behavior for any aircraft,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Emillio Frazolli”,</a:t>
            </a:r>
          </a:p>
          <a:p>
            <a:pPr lvl="0"/>
            <a:r>
              <a:rPr lang="en-US" sz="1400" dirty="0"/>
              <a:t>Movement automaton has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for an UAS to be able to fly in “non-segregated air space”,</a:t>
            </a:r>
          </a:p>
          <a:p>
            <a:pPr lvl="0"/>
            <a:r>
              <a:rPr lang="en-US" dirty="0"/>
              <a:t>Let'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Ramasy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synergy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Gardi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is a finite set of possible maneuvers,</a:t>
            </a:r>
          </a:p>
          <a:p>
            <a:pPr lvl="0"/>
            <a:r>
              <a:rPr lang="en-US" sz="1600" dirty="0"/>
              <a:t>originating in one initial position , and it fulfils this purpose,</a:t>
            </a:r>
          </a:p>
          <a:p>
            <a:pPr lvl="0"/>
            <a:r>
              <a:rPr lang="en-US" sz="1600" dirty="0"/>
              <a:t>The work of LaValle, Gessel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  <a:endParaRPr lang="en-US" sz="1600" b="1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3388" y="673100"/>
            <a:ext cx="6426200" cy="48196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avoidance grid   is organized in layers of cells with common distance range,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example of avoidance grid for blue aircraft in LiDAR vision rang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s shown by blue color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</a:p>
          <a:p>
            <a:r>
              <a:rPr lang="en-US" b="0" dirty="0"/>
              <a:t>The cell is portion of 3D space bounded by (6.15),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pPr lvl="0"/>
            <a:r>
              <a:rPr lang="en-US" dirty="0"/>
              <a:t>The cell is considered as one entity with common parameters.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trajectories in Reach Set Approximation which increases the odds of survival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unique trajectory footprints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we have all the ingredients for Data fusion and Avoidance Run</a:t>
            </a:r>
          </a:p>
          <a:p>
            <a:pPr lvl="0"/>
            <a:r>
              <a:rPr lang="en-US" dirty="0"/>
              <a:t>The Avoidance Run is situation evaluation for one specific decision time point,</a:t>
            </a: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we start with empty avoidance grid,</a:t>
            </a:r>
          </a:p>
          <a:p>
            <a:pPr lvl="0"/>
            <a:r>
              <a:rPr lang="en-US" dirty="0"/>
              <a:t>The goal is green square,</a:t>
            </a:r>
          </a:p>
          <a:p>
            <a:pPr lvl="0"/>
            <a:r>
              <a:rPr lang="en-US" dirty="0"/>
              <a:t>The UAS position is blue square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Data fusion” provides threat rating (obstacle rating) each cell in avoidance grid </a:t>
            </a:r>
          </a:p>
          <a:p>
            <a:pPr lvl="0"/>
            <a:r>
              <a:rPr lang="en-US" dirty="0"/>
              <a:t>Red cells are occupied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d cells belongs to occupied space</a:t>
            </a:r>
          </a:p>
          <a:p>
            <a:pPr lvl="0"/>
            <a:r>
              <a:rPr lang="en-US" dirty="0"/>
              <a:t>Red cells can belong also to restricted space</a:t>
            </a:r>
            <a:r>
              <a:rPr lang="en-US" b="1" dirty="0"/>
              <a:t>	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we evaluate the unknown as yellow cell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nknow portion of operation space belongs to Uncertain set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then we project reach set approximation into avoidance grid, </a:t>
            </a:r>
          </a:p>
          <a:p>
            <a:pPr lvl="0"/>
            <a:r>
              <a:rPr lang="en-US" dirty="0"/>
              <a:t>The result is trimmed reach set with only safe green trajectorie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afe trajectory is a trajectory going over Free space (white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reen cells which are penetrated by at least one safe trajectory are considered reachable,</a:t>
            </a:r>
          </a:p>
          <a:p>
            <a:pPr lvl="0"/>
            <a:r>
              <a:rPr lang="en-US" dirty="0"/>
              <a:t>The orange unreachable cells do not have any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Reachable + Unreachable =  Free operational spac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algorithm provides navigation goal (purple star).</a:t>
            </a:r>
          </a:p>
          <a:p>
            <a:pPr lvl="0"/>
            <a:r>
              <a:rPr lang="en-US" dirty="0"/>
              <a:t>Then in the reachable space a feasible blue avoidance path is selected from constrained reach set,</a:t>
            </a:r>
          </a:p>
          <a:p>
            <a:pPr lvl="0"/>
            <a:r>
              <a:rPr lang="en-US" dirty="0"/>
              <a:t>The blue star is marked as next decision point,</a:t>
            </a:r>
          </a:p>
          <a:p>
            <a:pPr lvl="0"/>
            <a:r>
              <a:rPr lang="en-US" dirty="0"/>
              <a:t>We fire up Avoidance Run again ther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lected according to the cost function and safety rules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run is responsible for “Short term navigation”, for long term navigation mission control run is used.</a:t>
            </a:r>
          </a:p>
          <a:p>
            <a:pPr lvl="0"/>
            <a:r>
              <a:rPr lang="en-US" dirty="0"/>
              <a:t>Multiple avoidance runs are executed to create one safe trajectory,</a:t>
            </a:r>
          </a:p>
          <a:p>
            <a:pPr lvl="0"/>
            <a:r>
              <a:rPr lang="en-US" dirty="0"/>
              <a:t>The cyan trajectory is planned from next decision point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ission control run is far more complex with magnitude of rules and other mechanisms,</a:t>
            </a:r>
          </a:p>
          <a:p>
            <a:pPr lvl="0"/>
            <a:r>
              <a:rPr lang="en-US" dirty="0"/>
              <a:t>It has been neglected in this presentation for simplicity purpose,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 was all for framework,</a:t>
            </a:r>
          </a:p>
          <a:p>
            <a:pPr lvl="0"/>
            <a:r>
              <a:rPr lang="en-US" dirty="0"/>
              <a:t>We need to make multiple instances to cooperates, for UAS to be airworthy,</a:t>
            </a:r>
          </a:p>
          <a:p>
            <a:pPr lvl="0"/>
            <a:r>
              <a:rPr lang="en-US" dirty="0"/>
              <a:t>This schematic shows a concept of centralized UTM,</a:t>
            </a:r>
          </a:p>
          <a:p>
            <a:pPr lvl="0"/>
            <a:r>
              <a:rPr lang="en-US" dirty="0"/>
              <a:t>UTM is receiving position updates from aircrafts,</a:t>
            </a:r>
          </a:p>
          <a:p>
            <a:pPr lvl="0"/>
            <a:r>
              <a:rPr lang="en-US" dirty="0"/>
              <a:t>If UTM detects collision its sends “Collision Resolutions”,</a:t>
            </a:r>
          </a:p>
          <a:p>
            <a:r>
              <a:rPr lang="en-US" dirty="0"/>
              <a:t>	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framework,</a:t>
            </a:r>
          </a:p>
          <a:p>
            <a:pPr lvl="0"/>
            <a:r>
              <a:rPr lang="en-US" dirty="0"/>
              <a:t>Now lets get to the testing scenarios</a:t>
            </a:r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pPr lvl="0"/>
            <a:r>
              <a:rPr lang="en-US" b="1" dirty="0"/>
              <a:t>Note:</a:t>
            </a:r>
          </a:p>
          <a:p>
            <a:r>
              <a:rPr lang="en-US" dirty="0"/>
              <a:t>All present pictures are from Testing framework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manned aviation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Path enforced by authority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ly, I will show you two scenarios for obstacle avoidance and weather avoidanc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Lets call it “Standard pizza delivery scenario”</a:t>
            </a:r>
          </a:p>
          <a:p>
            <a:pPr lvl="0"/>
            <a:r>
              <a:rPr lang="en-US" dirty="0"/>
              <a:t>The “blue plane” is flying over the maze to the green square waypoint,</a:t>
            </a:r>
          </a:p>
          <a:p>
            <a:pPr lvl="0"/>
            <a:r>
              <a:rPr lang="en-US" dirty="0"/>
              <a:t>The blue line is already flew trajectory</a:t>
            </a:r>
          </a:p>
          <a:p>
            <a:pPr lvl="0"/>
            <a:r>
              <a:rPr lang="en-US" dirty="0"/>
              <a:t>The red line is planned trajectory for actual decision point</a:t>
            </a:r>
          </a:p>
          <a:p>
            <a:pPr lvl="0"/>
            <a:r>
              <a:rPr lang="en-US" dirty="0"/>
              <a:t>The non convex obstacles are fed to “LiDAR” sensor</a:t>
            </a:r>
          </a:p>
          <a:p>
            <a:pPr lvl="0"/>
            <a:r>
              <a:rPr lang="en-US" dirty="0"/>
              <a:t>As you can see the approach has maze solving capabilitie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AS is capable to fly over buildings, The framework and reach sets are primarily 3D</a:t>
            </a:r>
          </a:p>
          <a:p>
            <a:pPr lvl="0"/>
            <a:r>
              <a:rPr lang="en-US" dirty="0"/>
              <a:t>The UAS is fed only over Sensor simulation, it does not know the mission plan or obstacle layout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is approaching magenta storm,</a:t>
            </a:r>
          </a:p>
          <a:p>
            <a:pPr lvl="0"/>
            <a:r>
              <a:rPr lang="en-US" dirty="0"/>
              <a:t>The storm is considered as moving constraint</a:t>
            </a:r>
          </a:p>
          <a:p>
            <a:pPr lvl="0"/>
            <a:r>
              <a:rPr lang="en-US" dirty="0"/>
              <a:t>The plane avoids storm</a:t>
            </a:r>
            <a:r>
              <a:rPr lang="en-US" b="1" dirty="0"/>
              <a:t>	</a:t>
            </a:r>
            <a:endParaRPr lang="en-US" dirty="0"/>
          </a:p>
          <a:p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be airworthy UAS needs to adhere some basic traffic rules, I will demonstrate the rules of the air which are valid for “controlled airspace” </a:t>
            </a:r>
          </a:p>
          <a:p>
            <a:r>
              <a:rPr lang="en-US" b="1" dirty="0"/>
              <a:t>Note:	</a:t>
            </a:r>
            <a:endParaRPr lang="en-US" dirty="0"/>
          </a:p>
          <a:p>
            <a:pPr lvl="0"/>
            <a:r>
              <a:rPr lang="en-US" dirty="0"/>
              <a:t>Class C, A,  airspaces, B are airports, they have more complex and intricate rules, 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verging maneuver needs to be executed when the angle of approach is above seventy degrees,</a:t>
            </a:r>
          </a:p>
          <a:p>
            <a:pPr lvl="0"/>
            <a:r>
              <a:rPr lang="en-US" dirty="0"/>
              <a:t>The right</a:t>
            </a:r>
            <a:r>
              <a:rPr lang="sk-SK" dirty="0"/>
              <a:t>-</a:t>
            </a:r>
            <a:r>
              <a:rPr lang="en-US" dirty="0"/>
              <a:t>hand rule is applied,</a:t>
            </a:r>
          </a:p>
          <a:p>
            <a:pPr lvl="0"/>
            <a:r>
              <a:rPr lang="en-US" dirty="0"/>
              <a:t>The red plane has right of the way,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start avoidance keeping safe distanc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lue plane avoids wake turbulence and returns to original path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lue plane avoids magenta plane, which has </a:t>
            </a:r>
          </a:p>
          <a:p>
            <a:pPr lvl="0"/>
            <a:r>
              <a:rPr lang="en-US" dirty="0"/>
              <a:t>“right of the way”</a:t>
            </a:r>
          </a:p>
          <a:p>
            <a:pPr lvl="0"/>
            <a:r>
              <a:rPr lang="en-US" dirty="0"/>
              <a:t>The rule engine has been deployed to tweak process,</a:t>
            </a:r>
          </a:p>
          <a:p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Head on approach” is triggered when the angle of approach is greater than 130 degrees</a:t>
            </a:r>
          </a:p>
          <a:p>
            <a:pPr lvl="0"/>
            <a:r>
              <a:rPr lang="en-US" dirty="0"/>
              <a:t>None of planes has the right of the way, </a:t>
            </a:r>
          </a:p>
          <a:p>
            <a:pPr lvl="0"/>
            <a:r>
              <a:rPr lang="en-US" dirty="0"/>
              <a:t>The virtual round abound concept is used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oth planes keep safe distance from expected collision point to avoid wake and side turbulences</a:t>
            </a:r>
          </a:p>
          <a:p>
            <a:pPr lvl="0"/>
            <a:r>
              <a:rPr lang="en-US" dirty="0"/>
              <a:t>The maneuver ends when virtual roundabout is used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Every rule can fail, then its “Every man for himself” situation solved by “upper right corner” avoidance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llision point is used as a center of virtual roundabout</a:t>
            </a:r>
          </a:p>
          <a:p>
            <a:pPr lvl="0"/>
            <a:r>
              <a:rPr lang="en-US" dirty="0"/>
              <a:t>Both planes start to converge to original waypoint when the collision point is passed,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aster blue  airplane is overtaking slower red airplane </a:t>
            </a:r>
          </a:p>
          <a:p>
            <a:pPr lvl="0"/>
            <a:r>
              <a:rPr lang="en-US" dirty="0"/>
              <a:t>Faster blue airplane needs to take detour,</a:t>
            </a:r>
          </a:p>
          <a:p>
            <a:pPr lvl="0"/>
            <a:r>
              <a:rPr lang="en-US" dirty="0"/>
              <a:t>The standard solution is to follow divergence waypoint and start returning on convergence waypoint</a:t>
            </a:r>
          </a:p>
          <a:p>
            <a:r>
              <a:rPr lang="en-US" dirty="0"/>
              <a:t>	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’s going like this,</a:t>
            </a:r>
          </a:p>
          <a:p>
            <a:pPr lvl="0"/>
            <a:r>
              <a:rPr lang="en-US" dirty="0"/>
              <a:t>During overtake both planes should keep constant speed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n it finishes like thi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Here you can see overtake maneuver implemented in our framework,</a:t>
            </a:r>
          </a:p>
          <a:p>
            <a:pPr lvl="0"/>
            <a:r>
              <a:rPr lang="en-US" dirty="0"/>
              <a:t>The blue plane is following the divergence waypoint</a:t>
            </a:r>
          </a:p>
          <a:p>
            <a:pPr lvl="0"/>
            <a:r>
              <a:rPr lang="en-US" dirty="0"/>
              <a:t>The blue plane returns on convergence waypoint when its wake turbulence does not harm magenta plane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divergence and convergence waypoints are calculated according to vehicle classes and speed difference,</a:t>
            </a:r>
          </a:p>
          <a:p>
            <a:pPr lvl="0"/>
            <a:r>
              <a:rPr lang="en-US" dirty="0"/>
              <a:t>Here you can see how the overtake trajectory wider with increase of speed difference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eed difference changes the shape of overtake trajectory,</a:t>
            </a:r>
          </a:p>
          <a:p>
            <a:pPr lvl="0"/>
            <a:r>
              <a:rPr lang="en-US" dirty="0"/>
              <a:t>The turn angle and shape is getting more sharp</a:t>
            </a:r>
          </a:p>
          <a:p>
            <a:pPr lvl="0"/>
            <a:r>
              <a:rPr lang="en-US" dirty="0"/>
              <a:t>Blue trajectory shows overtake with  2x speed difference</a:t>
            </a:r>
          </a:p>
          <a:p>
            <a:pPr lvl="0"/>
            <a:r>
              <a:rPr lang="en-US" dirty="0"/>
              <a:t>Green trajectory shows  overtake with 3x speed difference</a:t>
            </a:r>
          </a:p>
          <a:p>
            <a:r>
              <a:rPr lang="en-US" dirty="0"/>
              <a:t>Black trajectory shows overtake with 4x speed difference.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ulti collision can be solved in cooperative or non-cooperative manner, let’s take look on some more complex scenarios.</a:t>
            </a:r>
          </a:p>
          <a:p>
            <a:endParaRPr lang="en-US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central UTM authority,</a:t>
            </a:r>
          </a:p>
          <a:p>
            <a:pPr lvl="0"/>
            <a:r>
              <a:rPr lang="en-US" dirty="0"/>
              <a:t>The UAS gives their “Position notification”,</a:t>
            </a:r>
          </a:p>
          <a:p>
            <a:pPr lvl="0"/>
            <a:r>
              <a:rPr lang="en-US" dirty="0"/>
              <a:t>The UAS is enforcing “Directives as a commands”,	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n controlled airspace, where central authority is present, UAS are forced to cooperate,</a:t>
            </a:r>
          </a:p>
          <a:p>
            <a:pPr lvl="0"/>
            <a:r>
              <a:rPr lang="en-US" dirty="0"/>
              <a:t>The multi collision case scenario is solved with sufficiently big roundabout,</a:t>
            </a:r>
          </a:p>
          <a:p>
            <a:pPr lvl="0"/>
            <a:r>
              <a:rPr lang="en-US" dirty="0"/>
              <a:t>The capacity of virtual roundabout is depending on standard cruising speed,</a:t>
            </a:r>
          </a:p>
          <a:p>
            <a:pPr lvl="0"/>
            <a:r>
              <a:rPr lang="en-US" dirty="0"/>
              <a:t>All planes needs to use same speed while on roundabout 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algorithm to calculate roundabout and merge collision points is given by ICAO and its bounded to definition of airworthiness</a:t>
            </a:r>
          </a:p>
          <a:p>
            <a:pPr lvl="0"/>
            <a:r>
              <a:rPr lang="en-US" dirty="0"/>
              <a:t>Therefore any plane operating in controlled airspace is capable to adhere to ATM/UTM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get to non cooperative mode,</a:t>
            </a:r>
          </a:p>
          <a:p>
            <a:pPr lvl="0"/>
            <a:r>
              <a:rPr lang="en-US" dirty="0"/>
              <a:t>Each UAS is detecting own collisions, alerting others trough ADS-B</a:t>
            </a:r>
          </a:p>
          <a:p>
            <a:pPr lvl="0"/>
            <a:r>
              <a:rPr lang="en-US" dirty="0"/>
              <a:t>Each UAS is using our approach to calculate own avoidance trajectory which gave them best possible odds of survival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Each UAS is using own calculations to increase odds of survival</a:t>
            </a:r>
          </a:p>
          <a:p>
            <a:pPr lvl="0"/>
            <a:r>
              <a:rPr lang="en-US" dirty="0"/>
              <a:t>They start to react at the last moment around the collision point</a:t>
            </a:r>
          </a:p>
          <a:p>
            <a:pPr lvl="0"/>
            <a:r>
              <a:rPr lang="en-US" dirty="0"/>
              <a:t>As you can see it seems almost like collision,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 diagram showing mutual distance between UAS</a:t>
            </a:r>
          </a:p>
          <a:p>
            <a:pPr lvl="0"/>
            <a:r>
              <a:rPr lang="en-US" dirty="0"/>
              <a:t>The blue line represents the crash distance,</a:t>
            </a:r>
          </a:p>
          <a:p>
            <a:pPr lvl="0"/>
            <a:r>
              <a:rPr lang="en-US" dirty="0"/>
              <a:t>The red line represents safety margin</a:t>
            </a:r>
          </a:p>
          <a:p>
            <a:pPr lvl="0"/>
            <a:r>
              <a:rPr lang="en-US" dirty="0"/>
              <a:t>The safety margin was not breach in any case</a:t>
            </a:r>
          </a:p>
          <a:p>
            <a:pPr lvl="0"/>
            <a:r>
              <a:rPr lang="en-US" dirty="0"/>
              <a:t>Therefore, the operation is considered as safe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usual safety margins are way greater, the safety margin was 4x diameter of UAS (30 cm)=&gt; 1.2m 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*TBD on the go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is slide is summary of chapter 8.,</a:t>
            </a:r>
          </a:p>
          <a:p>
            <a:pPr lvl="0"/>
            <a:r>
              <a:rPr lang="en-US" dirty="0"/>
              <a:t>Its starter of a discussion, it remains on the board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4975" y="661988"/>
            <a:ext cx="6423025" cy="4818062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is tasked to fly a mission given as an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918" y="1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14391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72"/>
            <a:ext cx="316964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918" y="9120172"/>
            <a:ext cx="3169647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5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60.png"/><Relationship Id="rId4" Type="http://schemas.openxmlformats.org/officeDocument/2006/relationships/image" Target="../media/image6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0.png"/><Relationship Id="rId4" Type="http://schemas.openxmlformats.org/officeDocument/2006/relationships/notesSlide" Target="../notesSlides/notesSlide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1.png"/><Relationship Id="rId4" Type="http://schemas.openxmlformats.org/officeDocument/2006/relationships/notesSlide" Target="../notesSlides/notesSlide6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3.png"/><Relationship Id="rId4" Type="http://schemas.openxmlformats.org/officeDocument/2006/relationships/notesSlide" Target="../notesSlides/notesSlide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7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05.png"/><Relationship Id="rId4" Type="http://schemas.openxmlformats.org/officeDocument/2006/relationships/notesSlide" Target="../notesSlides/notesSlide7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08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jpeg"/><Relationship Id="rId5" Type="http://schemas.openxmlformats.org/officeDocument/2006/relationships/image" Target="../media/image112.png"/><Relationship Id="rId4" Type="http://schemas.openxmlformats.org/officeDocument/2006/relationships/image" Target="../media/image1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  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Continuous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2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ersection</m:t>
                            </m:r>
                            <m: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Frazzoli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Frazzoli, Munther A Dahleh, and Eric Feron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Studentlitteratur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Kistan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Yuriy Chynchenko, Tatyana Shmelova, and Oksana Chynchenko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Shmelova, D Bondarev, and Y Znakovska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Bartel, Anish Kaharkar, Tesheen Shaid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Branicky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Gessel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Floriana Esposito, Donato Malerba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08056" y="1566988"/>
            <a:ext cx="8345904" cy="19718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1042E8-2B31-420C-85A3-2D003E5E0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1559" y="3814354"/>
            <a:ext cx="6143414" cy="252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9017" y="1193483"/>
            <a:ext cx="8454906" cy="484632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(RSA)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87468" y="5004007"/>
            <a:ext cx="8825904" cy="1339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EA9D4F-D6BF-4B3C-9A6F-EB3F385E299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91970" y="1708957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Cerna.  Usage of maps obtained by lidar in uav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Ilkovicova 3, Bratislava. Slovak Republic, jun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953949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Testing Scenari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DBB27C-C850-4DEF-95E1-BCE54F597E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49" r="16526" b="18293"/>
          <a:stretch/>
        </p:blipFill>
        <p:spPr>
          <a:xfrm>
            <a:off x="65316" y="3838736"/>
            <a:ext cx="3657600" cy="25751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FE5B73-AD17-4042-9AE2-131916BEB17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857" t="22376" r="19714" b="21037"/>
          <a:stretch/>
        </p:blipFill>
        <p:spPr>
          <a:xfrm>
            <a:off x="4791875" y="3825672"/>
            <a:ext cx="4138108" cy="257512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2CD761-FEFC-41CC-88E0-30368F0DB9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621" y="65315"/>
            <a:ext cx="3511903" cy="265907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BE6E8A-3312-4B5D-9E42-1879746589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286" t="10661" b="34812"/>
          <a:stretch/>
        </p:blipFill>
        <p:spPr>
          <a:xfrm>
            <a:off x="3920322" y="194978"/>
            <a:ext cx="4001650" cy="9937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7F2F99-C592-40AA-9EAB-2E870B3A10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7413" y="1300506"/>
            <a:ext cx="3511903" cy="146681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D18060-F7BE-42AA-BA5D-36188AAD76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4083" y="1397673"/>
            <a:ext cx="1375831" cy="97973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 dirty="0"/>
              <a:t>UTM services definition</a:t>
            </a:r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5113</TotalTime>
  <Words>7323</Words>
  <Application>Microsoft Office PowerPoint</Application>
  <PresentationFormat>On-screen Show (4:3)</PresentationFormat>
  <Paragraphs>1566</Paragraphs>
  <Slides>83</Slides>
  <Notes>83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3</vt:i4>
      </vt:variant>
    </vt:vector>
  </HeadingPairs>
  <TitlesOfParts>
    <vt:vector size="97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No problem, I know a map of my surroundings</vt:lpstr>
      <vt:lpstr>Forget your map, know the restaurant location</vt:lpstr>
      <vt:lpstr>I get to the first intersection, now what ?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ADS-B</vt:lpstr>
      <vt:lpstr>LiDAR</vt:lpstr>
      <vt:lpstr>Offline Maps – created from classified data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Testing Scenarios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89</cp:revision>
  <cp:lastPrinted>2015-07-29T21:30:37Z</cp:lastPrinted>
  <dcterms:created xsi:type="dcterms:W3CDTF">2017-09-21T08:49:16Z</dcterms:created>
  <dcterms:modified xsi:type="dcterms:W3CDTF">2019-07-08T18:55:3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